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2" r:id="rId2"/>
  </p:sldMasterIdLst>
  <p:notesMasterIdLst>
    <p:notesMasterId r:id="rId8"/>
  </p:notesMasterIdLst>
  <p:sldIdLst>
    <p:sldId id="344" r:id="rId3"/>
    <p:sldId id="321" r:id="rId4"/>
    <p:sldId id="345" r:id="rId5"/>
    <p:sldId id="326" r:id="rId6"/>
    <p:sldId id="343" r:id="rId7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 xmlns:mv="urn:schemas-microsoft-com:mac:vml" xmlns:mc="http://schemas.openxmlformats.org/markup-compatibility/2006">
        <p15:guide id="1" orient="horz" pos="1248" userDrawn="1">
          <p15:clr>
            <a:srgbClr val="A4A3A4"/>
          </p15:clr>
        </p15:guide>
        <p15:guide id="2" pos="720" userDrawn="1">
          <p15:clr>
            <a:srgbClr val="A4A3A4"/>
          </p15:clr>
        </p15:guide>
        <p15:guide id="3" orient="horz" pos="31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FFFFFF"/>
    <a:srgbClr val="000000"/>
    <a:srgbClr val="D2DEEF"/>
    <a:srgbClr val="CBCDEC"/>
    <a:srgbClr val="E7E8F6"/>
    <a:srgbClr val="70AD47"/>
    <a:srgbClr val="507E32"/>
    <a:srgbClr val="C6D9F1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xmlns:mv="urn:schemas-microsoft-com:mac:vml" xmlns:mc="http://schemas.openxmlformats.org/markup-compatibility/2006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5091" autoAdjust="0"/>
  </p:normalViewPr>
  <p:slideViewPr>
    <p:cSldViewPr>
      <p:cViewPr>
        <p:scale>
          <a:sx n="76" d="100"/>
          <a:sy n="76" d="100"/>
        </p:scale>
        <p:origin x="-1122" y="336"/>
      </p:cViewPr>
      <p:guideLst>
        <p:guide orient="horz" pos="1248"/>
        <p:guide orient="horz" pos="3168"/>
        <p:guide pos="720"/>
      </p:guideLst>
    </p:cSldViewPr>
  </p:slideViewPr>
  <p:outlineViewPr>
    <p:cViewPr>
      <p:scale>
        <a:sx n="33" d="100"/>
        <a:sy n="33" d="100"/>
      </p:scale>
      <p:origin x="0" y="-70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147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C9D3DF5-50EA-471A-A7C9-0688B1E8C70A}" type="datetimeFigureOut">
              <a:rPr lang="en-US" smtClean="0"/>
              <a:pPr/>
              <a:t>1/1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B5EBD5C-26B9-492D-B2C7-3894F1FE433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868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468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994685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99468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4685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4685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12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microsoft.com/office/2007/relationships/hdphoto" Target="../media/hdphoto2.wdp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Black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309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35000"/>
                    </a14:imgEffect>
                    <a14:imgEffect>
                      <a14:brightnessContrast bright="7000" contras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43" t="78237" b="1"/>
          <a:stretch/>
        </p:blipFill>
        <p:spPr>
          <a:xfrm flipH="1">
            <a:off x="-13532" y="5470634"/>
            <a:ext cx="9189720" cy="1386536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13000"/>
                    </a14:imgEffect>
                    <a14:imgEffect>
                      <a14:brightnessContrast bright="6000" contrast="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43" t="-1764" b="1"/>
          <a:stretch/>
        </p:blipFill>
        <p:spPr>
          <a:xfrm flipH="1">
            <a:off x="-23057" y="-152400"/>
            <a:ext cx="9195224" cy="6487549"/>
          </a:xfrm>
          <a:prstGeom prst="rect">
            <a:avLst/>
          </a:prstGeom>
          <a:ln>
            <a:noFill/>
          </a:ln>
          <a:effectLst/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4481689"/>
            <a:ext cx="4024312" cy="123331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725513" y="1143000"/>
            <a:ext cx="3074395" cy="2060440"/>
            <a:chOff x="5701703" y="682760"/>
            <a:chExt cx="3074395" cy="2060440"/>
          </a:xfrm>
        </p:grpSpPr>
        <p:sp>
          <p:nvSpPr>
            <p:cNvPr id="5" name="Freeform 4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prstClr val="white"/>
                </a:solidFill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11200"/>
                      </a14:imgEffect>
                      <a14:imgEffect>
                        <a14:saturation sat="0"/>
                      </a14:imgEffect>
                      <a14:imgEffect>
                        <a14:brightnessContrast bright="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1999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 userDrawn="1"/>
        </p:nvGrpSpPr>
        <p:grpSpPr>
          <a:xfrm>
            <a:off x="459321" y="5895783"/>
            <a:ext cx="2183716" cy="635721"/>
            <a:chOff x="459321" y="5788818"/>
            <a:chExt cx="2183716" cy="635721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10" name="Freeform 9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prstClr val="white"/>
                </a:solidFill>
              </a:endParaRPr>
            </a:p>
          </p:txBody>
        </p:sp>
      </p:grp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663" y="6389496"/>
            <a:ext cx="2543172" cy="177632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457200" y="664217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utoShape 2" descr="https://mncamr-ext.accenture.com/sites/brandspace/imagelibrary/Photographic%20Images/10682.jpg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AutoShape 4" descr="https://mncamr-ext.accenture.com/sites/brandspace/imagelibrary/Photographic%20Images/10682.jpg"/>
          <p:cNvSpPr>
            <a:spLocks noChangeAspect="1" noChangeArrowheads="1"/>
          </p:cNvSpPr>
          <p:nvPr userDrawn="1"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AutoShape 26" descr="https://mncamr-ext.accenture.com/sites/brandspace/imagelibrary/Photographic%20Images/8308.jpg"/>
          <p:cNvSpPr>
            <a:spLocks noChangeAspect="1" noChangeArrowheads="1"/>
          </p:cNvSpPr>
          <p:nvPr userDrawn="1"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7" name="AutoShape 28" descr="https://mncamr-ext.accenture.com/sites/brandspace/imagelibrary/Photographic%20Images/8308.jpg"/>
          <p:cNvSpPr>
            <a:spLocks noChangeAspect="1" noChangeArrowheads="1"/>
          </p:cNvSpPr>
          <p:nvPr userDrawn="1"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AutoShape 30" descr="https://mncamr-ext.accenture.com/sites/brandspace/imagelibrary/Photographic%20Images/8308.jpg"/>
          <p:cNvSpPr>
            <a:spLocks noChangeAspect="1" noChangeArrowheads="1"/>
          </p:cNvSpPr>
          <p:nvPr userDrawn="1"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634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de-DE" dirty="0" smtClean="0"/>
              <a:t>Click to insert tex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8642352" cy="324498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947131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140355" y="6546849"/>
            <a:ext cx="508345" cy="157164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96800" y="1137285"/>
            <a:ext cx="8151900" cy="5080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600">
                <a:solidFill>
                  <a:schemeClr val="accent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>
          <a:xfrm>
            <a:off x="496800" y="6546849"/>
            <a:ext cx="2895600" cy="157164"/>
          </a:xfrm>
          <a:prstGeom prst="rect">
            <a:avLst/>
          </a:prstGeom>
        </p:spPr>
        <p:txBody>
          <a:bodyPr/>
          <a:lstStyle/>
          <a:p>
            <a:r>
              <a:rPr lang="en-AU" dirty="0">
                <a:solidFill>
                  <a:prstClr val="black"/>
                </a:solidFill>
              </a:rPr>
              <a:t>Copyright © 2012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1436617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0DC230-3E10-4A6E-96EC-7380A0995D3D}" type="datetimeFigureOut">
              <a:rPr lang="en-US">
                <a:solidFill>
                  <a:prstClr val="black"/>
                </a:solidFill>
              </a:rPr>
              <a:pPr/>
              <a:t>1/17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54C3827-A698-4A91-9DC5-CAB6DCE72C64}" type="slidenum">
              <a:rPr lang="en-US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398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68362"/>
          </a:xfrm>
        </p:spPr>
        <p:txBody>
          <a:bodyPr anchor="b">
            <a:normAutofit/>
          </a:bodyPr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05000"/>
            <a:ext cx="8229600" cy="4221163"/>
          </a:xfrm>
        </p:spPr>
        <p:txBody>
          <a:bodyPr>
            <a:normAutofit/>
          </a:bodyPr>
          <a:lstStyle>
            <a:lvl1pPr marL="339725" indent="-169863"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3FDCF6B-6967-4A51-84F1-115ABE4AF82A}" type="datetime1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/17/2017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553200"/>
            <a:ext cx="21336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0A03E0F9-6A3A-F24F-8876-0BC66A1CFA5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reeform 6"/>
          <p:cNvSpPr>
            <a:spLocks noChangeAspect="1"/>
          </p:cNvSpPr>
          <p:nvPr userDrawn="1"/>
        </p:nvSpPr>
        <p:spPr>
          <a:xfrm>
            <a:off x="7924800" y="133894"/>
            <a:ext cx="883771" cy="893158"/>
          </a:xfrm>
          <a:custGeom>
            <a:avLst/>
            <a:gdLst>
              <a:gd name="connsiteX0" fmla="*/ 0 w 4457700"/>
              <a:gd name="connsiteY0" fmla="*/ 0 h 4552950"/>
              <a:gd name="connsiteX1" fmla="*/ 4457700 w 4457700"/>
              <a:gd name="connsiteY1" fmla="*/ 1828800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24037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57700"/>
              <a:gd name="connsiteY0" fmla="*/ 0 h 4552950"/>
              <a:gd name="connsiteX1" fmla="*/ 4457700 w 4457700"/>
              <a:gd name="connsiteY1" fmla="*/ 1816893 h 4552950"/>
              <a:gd name="connsiteX2" fmla="*/ 4457700 w 4457700"/>
              <a:gd name="connsiteY2" fmla="*/ 2743200 h 4552950"/>
              <a:gd name="connsiteX3" fmla="*/ 0 w 4457700"/>
              <a:gd name="connsiteY3" fmla="*/ 4552950 h 4552950"/>
              <a:gd name="connsiteX4" fmla="*/ 0 w 4457700"/>
              <a:gd name="connsiteY4" fmla="*/ 3543300 h 4552950"/>
              <a:gd name="connsiteX5" fmla="*/ 3282950 w 4457700"/>
              <a:gd name="connsiteY5" fmla="*/ 2286000 h 4552950"/>
              <a:gd name="connsiteX6" fmla="*/ 0 w 4457700"/>
              <a:gd name="connsiteY6" fmla="*/ 1016000 h 4552950"/>
              <a:gd name="connsiteX7" fmla="*/ 0 w 4457700"/>
              <a:gd name="connsiteY7" fmla="*/ 0 h 4552950"/>
              <a:gd name="connsiteX0" fmla="*/ 0 w 4462462"/>
              <a:gd name="connsiteY0" fmla="*/ 0 h 4552950"/>
              <a:gd name="connsiteX1" fmla="*/ 4462462 w 4462462"/>
              <a:gd name="connsiteY1" fmla="*/ 1819275 h 4552950"/>
              <a:gd name="connsiteX2" fmla="*/ 4457700 w 4462462"/>
              <a:gd name="connsiteY2" fmla="*/ 2743200 h 4552950"/>
              <a:gd name="connsiteX3" fmla="*/ 0 w 4462462"/>
              <a:gd name="connsiteY3" fmla="*/ 4552950 h 4552950"/>
              <a:gd name="connsiteX4" fmla="*/ 0 w 4462462"/>
              <a:gd name="connsiteY4" fmla="*/ 3543300 h 4552950"/>
              <a:gd name="connsiteX5" fmla="*/ 3282950 w 4462462"/>
              <a:gd name="connsiteY5" fmla="*/ 2286000 h 4552950"/>
              <a:gd name="connsiteX6" fmla="*/ 0 w 4462462"/>
              <a:gd name="connsiteY6" fmla="*/ 1016000 h 4552950"/>
              <a:gd name="connsiteX7" fmla="*/ 0 w 4462462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52950"/>
              <a:gd name="connsiteX1" fmla="*/ 4462462 w 4462921"/>
              <a:gd name="connsiteY1" fmla="*/ 1819275 h 4552950"/>
              <a:gd name="connsiteX2" fmla="*/ 4462463 w 4462921"/>
              <a:gd name="connsiteY2" fmla="*/ 2747962 h 4552950"/>
              <a:gd name="connsiteX3" fmla="*/ 0 w 4462921"/>
              <a:gd name="connsiteY3" fmla="*/ 4552950 h 4552950"/>
              <a:gd name="connsiteX4" fmla="*/ 0 w 4462921"/>
              <a:gd name="connsiteY4" fmla="*/ 3543300 h 4552950"/>
              <a:gd name="connsiteX5" fmla="*/ 3282950 w 4462921"/>
              <a:gd name="connsiteY5" fmla="*/ 2286000 h 4552950"/>
              <a:gd name="connsiteX6" fmla="*/ 0 w 4462921"/>
              <a:gd name="connsiteY6" fmla="*/ 1016000 h 4552950"/>
              <a:gd name="connsiteX7" fmla="*/ 0 w 4462921"/>
              <a:gd name="connsiteY7" fmla="*/ 0 h 4552950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82950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60094"/>
              <a:gd name="connsiteX1" fmla="*/ 4462462 w 4462921"/>
              <a:gd name="connsiteY1" fmla="*/ 1819275 h 4560094"/>
              <a:gd name="connsiteX2" fmla="*/ 4462463 w 4462921"/>
              <a:gd name="connsiteY2" fmla="*/ 2747962 h 4560094"/>
              <a:gd name="connsiteX3" fmla="*/ 2381 w 4462921"/>
              <a:gd name="connsiteY3" fmla="*/ 4560094 h 4560094"/>
              <a:gd name="connsiteX4" fmla="*/ 0 w 4462921"/>
              <a:gd name="connsiteY4" fmla="*/ 3543300 h 4560094"/>
              <a:gd name="connsiteX5" fmla="*/ 3275807 w 4462921"/>
              <a:gd name="connsiteY5" fmla="*/ 2286000 h 4560094"/>
              <a:gd name="connsiteX6" fmla="*/ 0 w 4462921"/>
              <a:gd name="connsiteY6" fmla="*/ 1016000 h 4560094"/>
              <a:gd name="connsiteX7" fmla="*/ 0 w 4462921"/>
              <a:gd name="connsiteY7" fmla="*/ 0 h 4560094"/>
              <a:gd name="connsiteX0" fmla="*/ 0 w 4462921"/>
              <a:gd name="connsiteY0" fmla="*/ 0 h 4557713"/>
              <a:gd name="connsiteX1" fmla="*/ 4462462 w 4462921"/>
              <a:gd name="connsiteY1" fmla="*/ 1819275 h 4557713"/>
              <a:gd name="connsiteX2" fmla="*/ 4462463 w 4462921"/>
              <a:gd name="connsiteY2" fmla="*/ 2747962 h 4557713"/>
              <a:gd name="connsiteX3" fmla="*/ 2381 w 4462921"/>
              <a:gd name="connsiteY3" fmla="*/ 4557713 h 4557713"/>
              <a:gd name="connsiteX4" fmla="*/ 0 w 4462921"/>
              <a:gd name="connsiteY4" fmla="*/ 3543300 h 4557713"/>
              <a:gd name="connsiteX5" fmla="*/ 3275807 w 4462921"/>
              <a:gd name="connsiteY5" fmla="*/ 2286000 h 4557713"/>
              <a:gd name="connsiteX6" fmla="*/ 0 w 4462921"/>
              <a:gd name="connsiteY6" fmla="*/ 1016000 h 4557713"/>
              <a:gd name="connsiteX7" fmla="*/ 0 w 4462921"/>
              <a:gd name="connsiteY7" fmla="*/ 0 h 4557713"/>
              <a:gd name="connsiteX0" fmla="*/ 0 w 4462921"/>
              <a:gd name="connsiteY0" fmla="*/ 0 h 4562475"/>
              <a:gd name="connsiteX1" fmla="*/ 4462462 w 4462921"/>
              <a:gd name="connsiteY1" fmla="*/ 1819275 h 4562475"/>
              <a:gd name="connsiteX2" fmla="*/ 4462463 w 4462921"/>
              <a:gd name="connsiteY2" fmla="*/ 2747962 h 4562475"/>
              <a:gd name="connsiteX3" fmla="*/ 2381 w 4462921"/>
              <a:gd name="connsiteY3" fmla="*/ 4562475 h 4562475"/>
              <a:gd name="connsiteX4" fmla="*/ 0 w 4462921"/>
              <a:gd name="connsiteY4" fmla="*/ 3543300 h 4562475"/>
              <a:gd name="connsiteX5" fmla="*/ 3275807 w 4462921"/>
              <a:gd name="connsiteY5" fmla="*/ 2286000 h 4562475"/>
              <a:gd name="connsiteX6" fmla="*/ 0 w 4462921"/>
              <a:gd name="connsiteY6" fmla="*/ 1016000 h 4562475"/>
              <a:gd name="connsiteX7" fmla="*/ 0 w 4462921"/>
              <a:gd name="connsiteY7" fmla="*/ 0 h 4562475"/>
              <a:gd name="connsiteX0" fmla="*/ 2486 w 4465407"/>
              <a:gd name="connsiteY0" fmla="*/ 0 h 4564856"/>
              <a:gd name="connsiteX1" fmla="*/ 4464948 w 4465407"/>
              <a:gd name="connsiteY1" fmla="*/ 1819275 h 4564856"/>
              <a:gd name="connsiteX2" fmla="*/ 4464949 w 4465407"/>
              <a:gd name="connsiteY2" fmla="*/ 2747962 h 4564856"/>
              <a:gd name="connsiteX3" fmla="*/ 105 w 4465407"/>
              <a:gd name="connsiteY3" fmla="*/ 4564856 h 4564856"/>
              <a:gd name="connsiteX4" fmla="*/ 2486 w 4465407"/>
              <a:gd name="connsiteY4" fmla="*/ 3543300 h 4564856"/>
              <a:gd name="connsiteX5" fmla="*/ 3278293 w 4465407"/>
              <a:gd name="connsiteY5" fmla="*/ 2286000 h 4564856"/>
              <a:gd name="connsiteX6" fmla="*/ 2486 w 4465407"/>
              <a:gd name="connsiteY6" fmla="*/ 1016000 h 4564856"/>
              <a:gd name="connsiteX7" fmla="*/ 2486 w 4465407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47962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0343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5531"/>
              <a:gd name="connsiteY0" fmla="*/ 0 h 4564856"/>
              <a:gd name="connsiteX1" fmla="*/ 4465072 w 4465531"/>
              <a:gd name="connsiteY1" fmla="*/ 1819275 h 4564856"/>
              <a:gd name="connsiteX2" fmla="*/ 4465073 w 4465531"/>
              <a:gd name="connsiteY2" fmla="*/ 2755106 h 4564856"/>
              <a:gd name="connsiteX3" fmla="*/ 229 w 4465531"/>
              <a:gd name="connsiteY3" fmla="*/ 4564856 h 4564856"/>
              <a:gd name="connsiteX4" fmla="*/ 228 w 4465531"/>
              <a:gd name="connsiteY4" fmla="*/ 3545681 h 4564856"/>
              <a:gd name="connsiteX5" fmla="*/ 3278417 w 4465531"/>
              <a:gd name="connsiteY5" fmla="*/ 2286000 h 4564856"/>
              <a:gd name="connsiteX6" fmla="*/ 2610 w 4465531"/>
              <a:gd name="connsiteY6" fmla="*/ 1016000 h 4564856"/>
              <a:gd name="connsiteX7" fmla="*/ 2610 w 4465531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16000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8417 w 4467453"/>
              <a:gd name="connsiteY5" fmla="*/ 2286000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7453"/>
              <a:gd name="connsiteY0" fmla="*/ 0 h 4564856"/>
              <a:gd name="connsiteX1" fmla="*/ 4467453 w 4467453"/>
              <a:gd name="connsiteY1" fmla="*/ 1816894 h 4564856"/>
              <a:gd name="connsiteX2" fmla="*/ 4465073 w 4467453"/>
              <a:gd name="connsiteY2" fmla="*/ 2755106 h 4564856"/>
              <a:gd name="connsiteX3" fmla="*/ 229 w 4467453"/>
              <a:gd name="connsiteY3" fmla="*/ 4564856 h 4564856"/>
              <a:gd name="connsiteX4" fmla="*/ 228 w 4467453"/>
              <a:gd name="connsiteY4" fmla="*/ 3545681 h 4564856"/>
              <a:gd name="connsiteX5" fmla="*/ 3271273 w 4467453"/>
              <a:gd name="connsiteY5" fmla="*/ 2288382 h 4564856"/>
              <a:gd name="connsiteX6" fmla="*/ 2610 w 4467453"/>
              <a:gd name="connsiteY6" fmla="*/ 1020763 h 4564856"/>
              <a:gd name="connsiteX7" fmla="*/ 2610 w 4467453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9275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0763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71273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2610 w 4465530"/>
              <a:gd name="connsiteY0" fmla="*/ 0 h 4564856"/>
              <a:gd name="connsiteX1" fmla="*/ 4465071 w 4465530"/>
              <a:gd name="connsiteY1" fmla="*/ 1812131 h 4564856"/>
              <a:gd name="connsiteX2" fmla="*/ 4465073 w 4465530"/>
              <a:gd name="connsiteY2" fmla="*/ 2755106 h 4564856"/>
              <a:gd name="connsiteX3" fmla="*/ 229 w 4465530"/>
              <a:gd name="connsiteY3" fmla="*/ 4564856 h 4564856"/>
              <a:gd name="connsiteX4" fmla="*/ 228 w 4465530"/>
              <a:gd name="connsiteY4" fmla="*/ 3545681 h 4564856"/>
              <a:gd name="connsiteX5" fmla="*/ 3264129 w 4465530"/>
              <a:gd name="connsiteY5" fmla="*/ 2288382 h 4564856"/>
              <a:gd name="connsiteX6" fmla="*/ 2610 w 4465530"/>
              <a:gd name="connsiteY6" fmla="*/ 1023145 h 4564856"/>
              <a:gd name="connsiteX7" fmla="*/ 2610 w 4465530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5066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18079 h 4564856"/>
              <a:gd name="connsiteX7" fmla="*/ 0 w 4467986"/>
              <a:gd name="connsiteY7" fmla="*/ 0 h 4564856"/>
              <a:gd name="connsiteX0" fmla="*/ 0 w 4467986"/>
              <a:gd name="connsiteY0" fmla="*/ 0 h 4564856"/>
              <a:gd name="connsiteX1" fmla="*/ 4467527 w 4467986"/>
              <a:gd name="connsiteY1" fmla="*/ 1812131 h 4564856"/>
              <a:gd name="connsiteX2" fmla="*/ 4467529 w 4467986"/>
              <a:gd name="connsiteY2" fmla="*/ 2755106 h 4564856"/>
              <a:gd name="connsiteX3" fmla="*/ 2685 w 4467986"/>
              <a:gd name="connsiteY3" fmla="*/ 4564856 h 4564856"/>
              <a:gd name="connsiteX4" fmla="*/ 2684 w 4467986"/>
              <a:gd name="connsiteY4" fmla="*/ 3545681 h 4564856"/>
              <a:gd name="connsiteX5" fmla="*/ 3266585 w 4467986"/>
              <a:gd name="connsiteY5" fmla="*/ 2288382 h 4564856"/>
              <a:gd name="connsiteX6" fmla="*/ 2533 w 4467986"/>
              <a:gd name="connsiteY6" fmla="*/ 1023145 h 4564856"/>
              <a:gd name="connsiteX7" fmla="*/ 0 w 4467986"/>
              <a:gd name="connsiteY7" fmla="*/ 0 h 4564856"/>
              <a:gd name="connsiteX0" fmla="*/ 0 w 4467986"/>
              <a:gd name="connsiteY0" fmla="*/ 0 h 4567262"/>
              <a:gd name="connsiteX1" fmla="*/ 4467527 w 4467986"/>
              <a:gd name="connsiteY1" fmla="*/ 1814537 h 4567262"/>
              <a:gd name="connsiteX2" fmla="*/ 4467529 w 4467986"/>
              <a:gd name="connsiteY2" fmla="*/ 2757512 h 4567262"/>
              <a:gd name="connsiteX3" fmla="*/ 2685 w 4467986"/>
              <a:gd name="connsiteY3" fmla="*/ 4567262 h 4567262"/>
              <a:gd name="connsiteX4" fmla="*/ 2684 w 4467986"/>
              <a:gd name="connsiteY4" fmla="*/ 3548087 h 4567262"/>
              <a:gd name="connsiteX5" fmla="*/ 3266585 w 4467986"/>
              <a:gd name="connsiteY5" fmla="*/ 2290788 h 4567262"/>
              <a:gd name="connsiteX6" fmla="*/ 2533 w 4467986"/>
              <a:gd name="connsiteY6" fmla="*/ 1025551 h 4567262"/>
              <a:gd name="connsiteX7" fmla="*/ 0 w 4467986"/>
              <a:gd name="connsiteY7" fmla="*/ 0 h 4567262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50493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64555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  <a:gd name="connsiteX0" fmla="*/ 377 w 4465956"/>
              <a:gd name="connsiteY0" fmla="*/ 0 h 4569668"/>
              <a:gd name="connsiteX1" fmla="*/ 4465497 w 4465956"/>
              <a:gd name="connsiteY1" fmla="*/ 1816943 h 4569668"/>
              <a:gd name="connsiteX2" fmla="*/ 4465499 w 4465956"/>
              <a:gd name="connsiteY2" fmla="*/ 2759918 h 4569668"/>
              <a:gd name="connsiteX3" fmla="*/ 655 w 4465956"/>
              <a:gd name="connsiteY3" fmla="*/ 4569668 h 4569668"/>
              <a:gd name="connsiteX4" fmla="*/ 654 w 4465956"/>
              <a:gd name="connsiteY4" fmla="*/ 3548111 h 4569668"/>
              <a:gd name="connsiteX5" fmla="*/ 3257411 w 4465956"/>
              <a:gd name="connsiteY5" fmla="*/ 2293194 h 4569668"/>
              <a:gd name="connsiteX6" fmla="*/ 503 w 4465956"/>
              <a:gd name="connsiteY6" fmla="*/ 1027957 h 4569668"/>
              <a:gd name="connsiteX7" fmla="*/ 377 w 4465956"/>
              <a:gd name="connsiteY7" fmla="*/ 0 h 45696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465956" h="4569668">
                <a:moveTo>
                  <a:pt x="377" y="0"/>
                </a:moveTo>
                <a:lnTo>
                  <a:pt x="4465497" y="1816943"/>
                </a:lnTo>
                <a:cubicBezTo>
                  <a:pt x="4463910" y="2124918"/>
                  <a:pt x="4467086" y="2451943"/>
                  <a:pt x="4465499" y="2759918"/>
                </a:cubicBezTo>
                <a:lnTo>
                  <a:pt x="655" y="4569668"/>
                </a:lnTo>
                <a:cubicBezTo>
                  <a:pt x="-139" y="4230737"/>
                  <a:pt x="1448" y="3887042"/>
                  <a:pt x="654" y="3548111"/>
                </a:cubicBezTo>
                <a:lnTo>
                  <a:pt x="3257411" y="2293194"/>
                </a:lnTo>
                <a:lnTo>
                  <a:pt x="503" y="1027957"/>
                </a:lnTo>
                <a:cubicBezTo>
                  <a:pt x="-1186" y="686909"/>
                  <a:pt x="2066" y="341048"/>
                  <a:pt x="377" y="0"/>
                </a:cubicBezTo>
                <a:close/>
              </a:path>
            </a:pathLst>
          </a:custGeom>
          <a:blipFill dpi="0" rotWithShape="1">
            <a:blip r:embed="rId2"/>
            <a:srcRect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fontAlgn="base">
              <a:spcBef>
                <a:spcPts val="600"/>
              </a:spcBef>
              <a:spcAft>
                <a:spcPts val="300"/>
              </a:spcAft>
            </a:pPr>
            <a:r>
              <a:rPr lang="en-US" sz="105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US" sz="1050" dirty="0">
              <a:solidFill>
                <a:prstClr val="black"/>
              </a:solidFill>
              <a:latin typeface="Arial" panose="020B0604020202020204" pitchFamily="34" charset="0"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47675" y="1295400"/>
            <a:ext cx="8239125" cy="457200"/>
          </a:xfrm>
        </p:spPr>
        <p:txBody>
          <a:bodyPr>
            <a:no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1400" b="1"/>
            </a:lvl2pPr>
            <a:lvl3pPr marL="914400" indent="0">
              <a:buNone/>
              <a:defRPr sz="1400" b="1"/>
            </a:lvl3pPr>
            <a:lvl4pPr marL="1371600" indent="0">
              <a:buNone/>
              <a:defRPr sz="1400" b="1"/>
            </a:lvl4pPr>
            <a:lvl5pPr marL="1828800" indent="0">
              <a:buNone/>
              <a:defRPr sz="1400" b="1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701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bg>
      <p:bgPr>
        <a:solidFill>
          <a:srgbClr val="008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3910061"/>
            <a:ext cx="8228013" cy="2622222"/>
          </a:xfrm>
        </p:spPr>
        <p:txBody>
          <a:bodyPr lIns="0" rIns="0" anchor="b" anchorCtr="0">
            <a:noAutofit/>
          </a:bodyPr>
          <a:lstStyle>
            <a:lvl1pPr marL="0" indent="0" algn="l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4000" b="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Divider Slide Headline</a:t>
            </a:r>
          </a:p>
        </p:txBody>
      </p:sp>
    </p:spTree>
    <p:extLst>
      <p:ext uri="{BB962C8B-B14F-4D97-AF65-F5344CB8AC3E}">
        <p14:creationId xmlns:p14="http://schemas.microsoft.com/office/powerpoint/2010/main" val="1484848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1162050"/>
            <a:ext cx="82296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1035" y="170122"/>
            <a:ext cx="7006565" cy="785553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144698" y="6562940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7F7F7F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106783"/>
            <a:ext cx="984899" cy="940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047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00" name="Rectangle 60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2436813" y="4542473"/>
            <a:ext cx="4187507" cy="1143000"/>
          </a:xfrm>
          <a:ln w="9525"/>
        </p:spPr>
        <p:txBody>
          <a:bodyPr lIns="91440" tIns="45720" rIns="91440" bIns="45720" anchor="t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title style</a:t>
            </a:r>
            <a:endParaRPr lang="en-AU" dirty="0"/>
          </a:p>
        </p:txBody>
      </p:sp>
      <p:sp>
        <p:nvSpPr>
          <p:cNvPr id="10301" name="Rectangle 61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436813" y="5720398"/>
            <a:ext cx="6216650" cy="514350"/>
          </a:xfrm>
          <a:ln w="9525"/>
        </p:spPr>
        <p:txBody>
          <a:bodyPr lIns="91440" tIns="45720" rIns="91440" bIns="45720"/>
          <a:lstStyle>
            <a:lvl1pPr marL="0" indent="0">
              <a:buFontTx/>
              <a:buNone/>
              <a:defRPr sz="2000">
                <a:solidFill>
                  <a:srgbClr val="888888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0" y="3429000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1506840"/>
            <a:ext cx="1845985" cy="1762917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546853" y="2351483"/>
            <a:ext cx="2820212" cy="777208"/>
            <a:chOff x="459321" y="5788818"/>
            <a:chExt cx="2183716" cy="63572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321" y="6039743"/>
              <a:ext cx="2183716" cy="384796"/>
            </a:xfrm>
            <a:prstGeom prst="rect">
              <a:avLst/>
            </a:prstGeom>
          </p:spPr>
        </p:pic>
        <p:sp>
          <p:nvSpPr>
            <p:cNvPr id="8" name="Freeform 7"/>
            <p:cNvSpPr/>
            <p:nvPr/>
          </p:nvSpPr>
          <p:spPr>
            <a:xfrm>
              <a:off x="1741785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79647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6349" y="1752600"/>
            <a:ext cx="8689051" cy="4495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8686800" cy="284897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2185505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28600" y="1752600"/>
            <a:ext cx="4214463" cy="4724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701962" y="1752600"/>
            <a:ext cx="4213438" cy="4724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8686800" cy="326167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176213" indent="-17621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387119906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de-DE" dirty="0" smtClean="0"/>
              <a:t>Click to insert tex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8642352" cy="324498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176213" indent="-17621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</p:spTree>
    <p:extLst>
      <p:ext uri="{BB962C8B-B14F-4D97-AF65-F5344CB8AC3E}">
        <p14:creationId xmlns:p14="http://schemas.microsoft.com/office/powerpoint/2010/main" val="34564960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28600" y="1752600"/>
            <a:ext cx="8686799" cy="4571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to insert text </a:t>
            </a:r>
          </a:p>
          <a:p>
            <a:pPr lvl="1"/>
            <a:r>
              <a:rPr lang="de-DE" dirty="0" smtClean="0"/>
              <a:t>Click to insert text </a:t>
            </a:r>
          </a:p>
          <a:p>
            <a:pPr lvl="2"/>
            <a:r>
              <a:rPr lang="de-DE" dirty="0" smtClean="0"/>
              <a:t>Click to insert text </a:t>
            </a:r>
          </a:p>
          <a:p>
            <a:pPr lvl="3"/>
            <a:r>
              <a:rPr lang="de-DE" dirty="0" smtClean="0"/>
              <a:t>Click to insert text </a:t>
            </a:r>
          </a:p>
          <a:p>
            <a:pPr lvl="4"/>
            <a:r>
              <a:rPr lang="de-DE" dirty="0" smtClean="0"/>
              <a:t>Click to insert text 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18364" y="1219200"/>
            <a:ext cx="8642352" cy="324498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auto"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de-DE" dirty="0" smtClean="0"/>
              <a:t>Click to insert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7679758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228600" y="1749725"/>
            <a:ext cx="8686799" cy="457136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7938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dirty="0" smtClean="0"/>
              <a:t>Click to insert text </a:t>
            </a:r>
          </a:p>
          <a:p>
            <a:pPr lvl="1"/>
            <a:r>
              <a:rPr lang="de-DE" dirty="0" smtClean="0"/>
              <a:t>Click to insert text </a:t>
            </a:r>
          </a:p>
          <a:p>
            <a:pPr lvl="2"/>
            <a:r>
              <a:rPr lang="de-DE" dirty="0" smtClean="0"/>
              <a:t>Click to insert text </a:t>
            </a:r>
          </a:p>
          <a:p>
            <a:pPr lvl="3"/>
            <a:r>
              <a:rPr lang="de-DE" dirty="0" smtClean="0"/>
              <a:t>Click to insert text </a:t>
            </a:r>
          </a:p>
          <a:p>
            <a:pPr lvl="4"/>
            <a:r>
              <a:rPr lang="de-DE" dirty="0" smtClean="0"/>
              <a:t>Click to insert text 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228600" y="1219200"/>
            <a:ext cx="8642352" cy="324498"/>
          </a:xfrm>
          <a:prstGeom prst="rect">
            <a:avLst/>
          </a:prstGeom>
          <a:noFill/>
        </p:spPr>
        <p:txBody>
          <a:bodyPr wrap="square" lIns="0" tIns="72000" rIns="0" bIns="36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500" b="1" i="0" dirty="0" smtClean="0">
                <a:solidFill>
                  <a:schemeClr val="tx1"/>
                </a:solidFill>
                <a:latin typeface="Calibri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Click to insert text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 hasCustomPrompt="1"/>
          </p:nvPr>
        </p:nvSpPr>
        <p:spPr bwMode="auto">
          <a:xfrm>
            <a:off x="144463" y="0"/>
            <a:ext cx="7912417" cy="1143000"/>
          </a:xfrm>
        </p:spPr>
        <p:txBody>
          <a:bodyPr wrap="square" lIns="90488" tIns="44450" rIns="90488" bIns="4445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600" b="1" i="0">
                <a:solidFill>
                  <a:srgbClr val="1F497D"/>
                </a:solidFill>
                <a:latin typeface="Calibri"/>
              </a:defRPr>
            </a:lvl1pPr>
          </a:lstStyle>
          <a:p>
            <a:r>
              <a:rPr lang="de-DE" dirty="0" smtClean="0"/>
              <a:t>Click to insert 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0703984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381125"/>
            <a:ext cx="8228012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  <a:endParaRPr lang="en-US" dirty="0" smtClean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1035" y="170122"/>
            <a:ext cx="8205261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08989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600" b="1" kern="1200">
          <a:solidFill>
            <a:srgbClr val="000000"/>
          </a:solidFill>
          <a:latin typeface="+mn-lt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+mn-lt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+mn-lt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+mn-lt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9"/>
          <p:cNvSpPr>
            <a:spLocks noGrp="1" noChangeArrowheads="1"/>
          </p:cNvSpPr>
          <p:nvPr>
            <p:ph type="body" idx="1"/>
          </p:nvPr>
        </p:nvSpPr>
        <p:spPr bwMode="gray">
          <a:xfrm>
            <a:off x="226952" y="1752600"/>
            <a:ext cx="8688448" cy="4495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 smtClean="0"/>
          </a:p>
        </p:txBody>
      </p:sp>
      <p:sp>
        <p:nvSpPr>
          <p:cNvPr id="1030" name="Rectangle 65"/>
          <p:cNvSpPr>
            <a:spLocks noGrp="1" noChangeArrowheads="1"/>
          </p:cNvSpPr>
          <p:nvPr>
            <p:ph type="title"/>
          </p:nvPr>
        </p:nvSpPr>
        <p:spPr bwMode="gray">
          <a:xfrm>
            <a:off x="144463" y="0"/>
            <a:ext cx="7912417" cy="11430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AU" dirty="0" smtClean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0" y="1144588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>
            <a:off x="0" y="1144588"/>
            <a:ext cx="91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AcnSubjectTitle_ID_12" hidden="1"/>
          <p:cNvSpPr txBox="1"/>
          <p:nvPr>
            <p:custDataLst>
              <p:tags r:id="rId12"/>
            </p:custDataLst>
          </p:nvPr>
        </p:nvSpPr>
        <p:spPr bwMode="gray">
          <a:xfrm>
            <a:off x="144462" y="1143000"/>
            <a:ext cx="8847138" cy="4308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91440" rIns="0" bIns="9144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en-US" sz="1600" b="1" i="1" dirty="0">
                <a:solidFill>
                  <a:srgbClr val="000000"/>
                </a:solidFill>
              </a:rPr>
              <a:t>Subject Tit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50211" y="6637564"/>
            <a:ext cx="2573227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4 Accenture  All rights reserved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394073" y="6646065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US" sz="90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US" sz="900" dirty="0">
              <a:solidFill>
                <a:srgbClr val="7F7F7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00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1" r:id="rId9"/>
    <p:sldLayoutId id="2147483662" r:id="rId10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53975" indent="-539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8575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2000">
          <a:solidFill>
            <a:schemeClr val="tx1"/>
          </a:solidFill>
          <a:latin typeface="+mn-lt"/>
        </a:defRPr>
      </a:lvl2pPr>
      <a:lvl3pPr marL="858838" indent="-16827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400">
          <a:solidFill>
            <a:schemeClr val="tx1"/>
          </a:solidFill>
          <a:latin typeface="+mn-lt"/>
        </a:defRPr>
      </a:lvl3pPr>
      <a:lvl4pPr marL="1200150" indent="-2270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4811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5pPr>
      <a:lvl6pPr marL="19383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6pPr>
      <a:lvl7pPr marL="23955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7pPr>
      <a:lvl8pPr marL="28527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8pPr>
      <a:lvl9pPr marL="3309938" indent="-16668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9144000" cy="5816978"/>
          </a:xfrm>
          <a:prstGeom prst="rect">
            <a:avLst/>
          </a:prstGeom>
          <a:noFill/>
        </p:spPr>
        <p:txBody>
          <a:bodyPr wrap="square" rIns="182880" rtlCol="0">
            <a:spAutoFit/>
          </a:bodyPr>
          <a:lstStyle/>
          <a:p>
            <a:endParaRPr lang="en-US" sz="4000" dirty="0" smtClean="0">
              <a:solidFill>
                <a:srgbClr val="FFFFFF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rgbClr val="FFFFFF"/>
              </a:solidFill>
              <a:latin typeface="Gill Sans"/>
              <a:cs typeface="Gill Sans"/>
            </a:endParaRPr>
          </a:p>
          <a:p>
            <a:pPr marL="350838"/>
            <a:r>
              <a:rPr lang="en-US" sz="3600" b="1" dirty="0" smtClean="0">
                <a:solidFill>
                  <a:srgbClr val="FFFFFF"/>
                </a:solidFill>
                <a:latin typeface="Gill Sans"/>
                <a:cs typeface="Gill Sans"/>
              </a:rPr>
              <a:t>Aspen Institute Future of Work Initiative</a:t>
            </a:r>
          </a:p>
          <a:p>
            <a:pPr marL="350838"/>
            <a:endParaRPr lang="en-US" sz="3600" b="1" dirty="0" smtClean="0">
              <a:solidFill>
                <a:srgbClr val="FFFFFF"/>
              </a:solidFill>
              <a:latin typeface="Gill Sans"/>
              <a:cs typeface="Gill Sans"/>
            </a:endParaRPr>
          </a:p>
          <a:p>
            <a:pPr marL="350838"/>
            <a:r>
              <a:rPr lang="en-US" sz="3600" dirty="0" smtClean="0">
                <a:solidFill>
                  <a:srgbClr val="FFFFFF"/>
                </a:solidFill>
                <a:latin typeface="Gill Sans"/>
                <a:cs typeface="Gill Sans"/>
              </a:rPr>
              <a:t>A nonpartisan effort to identify concrete ways to strengthen the social contract in the midst of sweeping changes in today’s workplace and workforce</a:t>
            </a:r>
          </a:p>
          <a:p>
            <a:pPr marL="350838"/>
            <a:endParaRPr lang="en-US" sz="4000" dirty="0" smtClean="0">
              <a:solidFill>
                <a:srgbClr val="FFFFFF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rgbClr val="FFFFFF"/>
              </a:solidFill>
              <a:latin typeface="Gill Sans"/>
              <a:cs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246686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9144000" cy="6555641"/>
          </a:xfrm>
          <a:prstGeom prst="rect">
            <a:avLst/>
          </a:prstGeom>
          <a:noFill/>
        </p:spPr>
        <p:txBody>
          <a:bodyPr wrap="square" rIns="182880" rtlCol="0">
            <a:spAutoFit/>
          </a:bodyPr>
          <a:lstStyle/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r>
              <a:rPr lang="en-US" sz="4000" dirty="0" smtClean="0">
                <a:solidFill>
                  <a:schemeClr val="bg1"/>
                </a:solidFill>
                <a:latin typeface="Gill Sans"/>
                <a:cs typeface="Gill Sans"/>
              </a:rPr>
              <a:t>Nearly all (94%) of the 10 million jobs created between 2005 and 2015 were alternative work arrangements - </a:t>
            </a:r>
            <a:r>
              <a:rPr lang="en-US" sz="4000" u="sng" dirty="0" smtClean="0">
                <a:solidFill>
                  <a:schemeClr val="bg1"/>
                </a:solidFill>
                <a:latin typeface="Gill Sans"/>
                <a:cs typeface="Gill Sans"/>
              </a:rPr>
              <a:t>not </a:t>
            </a:r>
            <a:r>
              <a:rPr lang="en-US" sz="4000" dirty="0" smtClean="0">
                <a:solidFill>
                  <a:schemeClr val="bg1"/>
                </a:solidFill>
                <a:latin typeface="Gill Sans"/>
                <a:cs typeface="Gill Sans"/>
              </a:rPr>
              <a:t>traditional nine-to-five employment</a:t>
            </a: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166688" algn="ctr"/>
            <a:r>
              <a:rPr lang="en-US" sz="2000" dirty="0" smtClean="0">
                <a:solidFill>
                  <a:schemeClr val="bg1"/>
                </a:solidFill>
                <a:latin typeface="Gill Sans"/>
                <a:cs typeface="Gill Sans"/>
              </a:rPr>
              <a:t>(Lawrence Katz – Harvard University/Alan Krueger – Princeton University, 2016) </a:t>
            </a:r>
          </a:p>
        </p:txBody>
      </p:sp>
    </p:spTree>
    <p:extLst>
      <p:ext uri="{BB962C8B-B14F-4D97-AF65-F5344CB8AC3E}">
        <p14:creationId xmlns:p14="http://schemas.microsoft.com/office/powerpoint/2010/main" val="246686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3289996077_9d99db7b4e_o (1)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219200" y="-25400"/>
            <a:ext cx="10439400" cy="69596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-1066800" y="6477000"/>
            <a:ext cx="20185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7F7F7F"/>
                </a:solidFill>
                <a:latin typeface="Gill Sans MT"/>
                <a:cs typeface="Gill Sans MT"/>
              </a:rPr>
              <a:t>(Photo: Josh </a:t>
            </a:r>
            <a:r>
              <a:rPr lang="en-US" sz="1200" dirty="0" err="1" smtClean="0">
                <a:solidFill>
                  <a:srgbClr val="7F7F7F"/>
                </a:solidFill>
                <a:latin typeface="Gill Sans MT"/>
                <a:cs typeface="Gill Sans MT"/>
              </a:rPr>
              <a:t>Heald</a:t>
            </a:r>
            <a:r>
              <a:rPr lang="en-US" sz="1200" dirty="0" smtClean="0">
                <a:solidFill>
                  <a:srgbClr val="7F7F7F"/>
                </a:solidFill>
                <a:latin typeface="Gill Sans MT"/>
                <a:cs typeface="Gill Sans MT"/>
              </a:rPr>
              <a:t> via </a:t>
            </a:r>
            <a:r>
              <a:rPr lang="en-US" sz="1200" dirty="0" err="1" smtClean="0">
                <a:solidFill>
                  <a:srgbClr val="7F7F7F"/>
                </a:solidFill>
                <a:latin typeface="Gill Sans MT"/>
                <a:cs typeface="Gill Sans MT"/>
              </a:rPr>
              <a:t>Flickr</a:t>
            </a:r>
            <a:r>
              <a:rPr lang="en-US" sz="1200" dirty="0" smtClean="0">
                <a:solidFill>
                  <a:srgbClr val="7F7F7F"/>
                </a:solidFill>
                <a:latin typeface="Gill Sans MT"/>
                <a:cs typeface="Gill Sans MT"/>
              </a:rPr>
              <a:t> /</a:t>
            </a:r>
          </a:p>
          <a:p>
            <a:r>
              <a:rPr lang="en-US" sz="1200" dirty="0" smtClean="0">
                <a:solidFill>
                  <a:srgbClr val="7F7F7F"/>
                </a:solidFill>
                <a:latin typeface="Gill Sans MT"/>
                <a:cs typeface="Gill Sans MT"/>
              </a:rPr>
              <a:t>Creative Commons)</a:t>
            </a:r>
            <a:endParaRPr lang="en-US" sz="1200" dirty="0">
              <a:solidFill>
                <a:srgbClr val="7F7F7F"/>
              </a:solidFill>
              <a:latin typeface="Gill Sans MT"/>
              <a:cs typeface="Gill Sans MT"/>
            </a:endParaRPr>
          </a:p>
        </p:txBody>
      </p:sp>
    </p:spTree>
    <p:extLst>
      <p:ext uri="{BB962C8B-B14F-4D97-AF65-F5344CB8AC3E}">
        <p14:creationId xmlns:p14="http://schemas.microsoft.com/office/powerpoint/2010/main" val="246686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0" y="1"/>
            <a:ext cx="914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r>
              <a:rPr lang="en-US" sz="4000" dirty="0" smtClean="0">
                <a:solidFill>
                  <a:schemeClr val="bg1"/>
                </a:solidFill>
                <a:latin typeface="Gill Sans"/>
                <a:cs typeface="Gill Sans"/>
              </a:rPr>
              <a:t>Portable Benefits and Protections</a:t>
            </a: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1724561"/>
            <a:ext cx="9144000" cy="5755422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Universal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Portable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Pro-rated</a:t>
            </a:r>
          </a:p>
          <a:p>
            <a:pPr marL="350838">
              <a:buFont typeface="Arial"/>
              <a:buChar char="•"/>
            </a:pPr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endParaRPr lang="en-US" sz="36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(Health)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Workers comp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Paid leave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Retirement savings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Training and development   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Others?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28600" y="1524000"/>
            <a:ext cx="8534400" cy="1588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Left Brace 14"/>
          <p:cNvSpPr/>
          <p:nvPr/>
        </p:nvSpPr>
        <p:spPr>
          <a:xfrm>
            <a:off x="3733800" y="2286000"/>
            <a:ext cx="533400" cy="4191000"/>
          </a:xfrm>
          <a:prstGeom prst="leftBrace">
            <a:avLst/>
          </a:prstGeom>
          <a:ln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86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9144000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r>
              <a:rPr lang="en-US" sz="4000" dirty="0" smtClean="0">
                <a:solidFill>
                  <a:schemeClr val="bg1"/>
                </a:solidFill>
                <a:latin typeface="Gill Sans"/>
                <a:cs typeface="Gill Sans"/>
              </a:rPr>
              <a:t>Ideas </a:t>
            </a: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>
              <a:buFont typeface="Arial"/>
              <a:buChar char="•"/>
            </a:pPr>
            <a:r>
              <a:rPr lang="en-US" sz="4000" dirty="0" smtClean="0">
                <a:solidFill>
                  <a:schemeClr val="bg1"/>
                </a:solidFill>
                <a:latin typeface="Gill Sans"/>
                <a:cs typeface="Gill Sans"/>
              </a:rPr>
              <a:t> </a:t>
            </a: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Private sector: </a:t>
            </a:r>
            <a:r>
              <a:rPr lang="en-US" sz="3600" dirty="0" err="1" smtClean="0">
                <a:solidFill>
                  <a:schemeClr val="bg1"/>
                </a:solidFill>
                <a:latin typeface="Gill Sans"/>
                <a:cs typeface="Gill Sans"/>
              </a:rPr>
              <a:t>Care.com</a:t>
            </a:r>
            <a:r>
              <a:rPr lang="en-US" sz="3600" smtClean="0">
                <a:solidFill>
                  <a:schemeClr val="bg1"/>
                </a:solidFill>
                <a:latin typeface="Gill Sans"/>
                <a:cs typeface="Gill Sans"/>
              </a:rPr>
              <a:t> Benefit </a:t>
            </a: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Bucks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Cross-sector: Independent Drivers Guild</a:t>
            </a:r>
          </a:p>
          <a:p>
            <a:pPr marL="350838">
              <a:buFont typeface="Arial"/>
              <a:buChar char="•"/>
            </a:pPr>
            <a:r>
              <a:rPr lang="en-US" sz="3600" dirty="0" smtClean="0">
                <a:solidFill>
                  <a:schemeClr val="bg1"/>
                </a:solidFill>
                <a:latin typeface="Gill Sans"/>
                <a:cs typeface="Gill Sans"/>
              </a:rPr>
              <a:t> Public sector: NY legislation, Healthy SF </a:t>
            </a: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  <a:p>
            <a:pPr marL="350838"/>
            <a:endParaRPr lang="en-US" sz="4000" dirty="0" smtClean="0">
              <a:solidFill>
                <a:schemeClr val="bg1"/>
              </a:solidFill>
              <a:latin typeface="Gill Sans"/>
              <a:cs typeface="Gill Sans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28600" y="1524000"/>
            <a:ext cx="8534400" cy="1588"/>
          </a:xfrm>
          <a:prstGeom prst="line">
            <a:avLst/>
          </a:prstGeom>
          <a:ln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686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1/16/2012 8:59:15 PM"/>
</p:tagLst>
</file>

<file path=ppt/theme/theme1.xml><?xml version="1.0" encoding="utf-8"?>
<a:theme xmlns:a="http://schemas.openxmlformats.org/drawingml/2006/main" name="Straws_04_2013">
  <a:themeElements>
    <a:clrScheme name="Accenture_FINAL">
      <a:dk1>
        <a:srgbClr val="000000"/>
      </a:dk1>
      <a:lt1>
        <a:sysClr val="window" lastClr="FFFFFF"/>
      </a:lt1>
      <a:dk2>
        <a:srgbClr val="1F497D"/>
      </a:dk2>
      <a:lt2>
        <a:srgbClr val="E3DEDC"/>
      </a:lt2>
      <a:accent1>
        <a:srgbClr val="0033CC"/>
      </a:accent1>
      <a:accent2>
        <a:srgbClr val="00A400"/>
      </a:accent2>
      <a:accent3>
        <a:srgbClr val="FF9A05"/>
      </a:accent3>
      <a:accent4>
        <a:srgbClr val="FF0000"/>
      </a:accent4>
      <a:accent5>
        <a:srgbClr val="800080"/>
      </a:accent5>
      <a:accent6>
        <a:srgbClr val="00AEEF"/>
      </a:accent6>
      <a:hlink>
        <a:srgbClr val="0033CC"/>
      </a:hlink>
      <a:folHlink>
        <a:srgbClr val="771E28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7_AMC PPT Template WHITE 6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terpretationA_full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AA99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2CA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AA1133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D2AAAD"/>
        </a:accent5>
        <a:accent6>
          <a:srgbClr val="5C9A3D"/>
        </a:accent6>
        <a:hlink>
          <a:srgbClr val="887799"/>
        </a:hlink>
        <a:folHlink>
          <a:srgbClr val="2244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00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8A00"/>
        </a:accent6>
        <a:hlink>
          <a:srgbClr val="557799"/>
        </a:hlink>
        <a:folHlink>
          <a:srgbClr val="44551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BBEE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AF5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5572</TotalTime>
  <Words>130</Words>
  <Application>Microsoft Office PowerPoint</Application>
  <PresentationFormat>On-screen Show (4:3)</PresentationFormat>
  <Paragraphs>41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8" baseType="lpstr">
      <vt:lpstr>Straws_04_2013</vt:lpstr>
      <vt:lpstr>7_AMC PPT Template WHITE 6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Accenture Federal Servic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sto Means, Natalie</dc:creator>
  <cp:lastModifiedBy>user4</cp:lastModifiedBy>
  <cp:revision>757</cp:revision>
  <cp:lastPrinted>2016-03-28T21:26:28Z</cp:lastPrinted>
  <dcterms:created xsi:type="dcterms:W3CDTF">2017-01-13T19:02:20Z</dcterms:created>
  <dcterms:modified xsi:type="dcterms:W3CDTF">2017-01-17T20:31:18Z</dcterms:modified>
</cp:coreProperties>
</file>